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  <p:sldId id="265" r:id="rId28"/>
    <p:sldId id="266" r:id="rId29"/>
    <p:sldId id="267" r:id="rId30"/>
    <p:sldId id="268" r:id="rId31"/>
    <p:sldId id="269" r:id="rId32"/>
    <p:sldId id="270" r:id="rId33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Relationship Id="rId30" Type="http://schemas.openxmlformats.org/officeDocument/2006/relationships/slide" Target="slides/slide11.xml"/><Relationship Id="rId31" Type="http://schemas.openxmlformats.org/officeDocument/2006/relationships/slide" Target="slides/slide12.xml"/><Relationship Id="rId32" Type="http://schemas.openxmlformats.org/officeDocument/2006/relationships/slide" Target="slides/slide13.xml"/><Relationship Id="rId33" Type="http://schemas.openxmlformats.org/officeDocument/2006/relationships/slide" Target="slides/slide14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ase studies and examples of Agile's success in various projec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Real-World Success Stori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iscussing the hurdles faced by organizations in implementing Agil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hallenges in Adopting Agi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ummarizing the key points and findings of the presentatio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onclu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ist of modern and accessible resources for further reading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Referen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Calibri"/>
              </a:defRPr>
            </a:pPr>
            <a:r>
              <a:t>Example Prompts:</a:t>
            </a:r>
          </a:p>
          <a:p>
            <a:pPr>
              <a:defRPr sz="36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Calibri"/>
              </a:defRPr>
            </a:pPr>
            <a:r>
              <a:t>Introduc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oring Process Models in Software Engineering</a:t>
            </a:r>
          </a:p>
          <a:p>
            <a:pPr>
              <a:defRPr sz="3600">
                <a:latin typeface="Calibri"/>
              </a:defRPr>
            </a:pPr>
            <a:r>
              <a:t>Focus: Waterfall, Agile, Scrum, XP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omparative analysis of various process models used in software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Overview of Software Engineering Process Model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efinition and key characteristics of the Waterfall model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Waterfall Mod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dvantages of the Agile approach in software engineering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 Software Develop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Identifying the main challenges in software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Challenges of Developing High-Quality Softwa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How Agile methodologies address common development challeng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's Response to Software Development Challeng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The principles of the Agile Manifesto and their impact on software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Agile Manifesto and Its Influ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Overview of Scrum, XP, and other Agile methodologi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Calibri"/>
              </a:defRPr>
            </a:pPr>
            <a:r>
              <a:t>Key Agile Methodologies: Scrum, XP, etc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